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73"/>
    <p:restoredTop sz="94719"/>
  </p:normalViewPr>
  <p:slideViewPr>
    <p:cSldViewPr snapToGrid="0">
      <p:cViewPr>
        <p:scale>
          <a:sx n="182" d="100"/>
          <a:sy n="182" d="100"/>
        </p:scale>
        <p:origin x="16" y="-1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1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 dirty="0" err="1">
                <a:solidFill>
                  <a:srgbClr val="575757"/>
                </a:solidFill>
              </a:rPr>
              <a:t>esante.gouv.fr</a:t>
            </a:r>
            <a:endParaRPr lang="fr-FR" sz="2667" b="1" dirty="0">
              <a:solidFill>
                <a:srgbClr val="575757"/>
              </a:solidFill>
            </a:endParaRPr>
          </a:p>
          <a:p>
            <a:pPr algn="l"/>
            <a:r>
              <a:rPr lang="fr-FR" sz="2000" dirty="0">
                <a:solidFill>
                  <a:srgbClr val="575757"/>
                </a:solidFill>
              </a:rPr>
              <a:t>Le portail</a:t>
            </a:r>
            <a:r>
              <a:rPr lang="fr-FR" sz="2000" baseline="0" dirty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dirty="0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1949901" y="1363318"/>
            <a:ext cx="1952001" cy="697623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spécificat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125325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2925902" y="2060941"/>
            <a:ext cx="0" cy="4395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1949902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2925902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1949902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125326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-imple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3901903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4725969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83195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080744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-implementation</a:t>
            </a: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231816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tex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052153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057831" y="3347845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231816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text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« final-text « 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pour implementation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pour implémentation 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« pour implémentation 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137321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4792451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057831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00673" y="2813102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2</TotalTime>
  <Words>178</Words>
  <Application>Microsoft Macintosh PowerPoint</Application>
  <PresentationFormat>Grand écran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28</cp:revision>
  <dcterms:created xsi:type="dcterms:W3CDTF">2024-07-11T07:46:37Z</dcterms:created>
  <dcterms:modified xsi:type="dcterms:W3CDTF">2024-07-12T15:54:39Z</dcterms:modified>
</cp:coreProperties>
</file>